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6"/>
  </p:notesMasterIdLst>
  <p:handoutMasterIdLst>
    <p:handoutMasterId r:id="rId7"/>
  </p:handoutMasterIdLst>
  <p:sldIdLst>
    <p:sldId id="271" r:id="rId2"/>
    <p:sldId id="291" r:id="rId3"/>
    <p:sldId id="290" r:id="rId4"/>
    <p:sldId id="293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3163" autoAdjust="0"/>
  </p:normalViewPr>
  <p:slideViewPr>
    <p:cSldViewPr>
      <p:cViewPr varScale="1">
        <p:scale>
          <a:sx n="87" d="100"/>
          <a:sy n="87" d="100"/>
        </p:scale>
        <p:origin x="51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0206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804C2189-B107-4193-82F5-2A5016F788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5192" y="1830302"/>
            <a:ext cx="4800600" cy="2286058"/>
          </a:xfrm>
        </p:spPr>
        <p:txBody>
          <a:bodyPr/>
          <a:lstStyle/>
          <a:p>
            <a:r>
              <a:rPr lang="en-US" dirty="0"/>
              <a:t> Rating of Russian pharmacy chains</a:t>
            </a:r>
            <a:br>
              <a:rPr lang="en-US" dirty="0"/>
            </a:br>
            <a:r>
              <a:rPr lang="en-US" dirty="0"/>
              <a:t> 1-3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361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56" y="-75567"/>
            <a:ext cx="11568591" cy="768263"/>
          </a:xfrm>
        </p:spPr>
        <p:txBody>
          <a:bodyPr anchor="ctr"/>
          <a:lstStyle/>
          <a:p>
            <a:pPr lvl="0"/>
            <a:br>
              <a:rPr lang="en-US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dirty="0"/>
              <a:t>TOP-10 pharmacy chains and pharmacy associations by sales of drugs (excluding reimbursement drugs supply), 1-3Q 2018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6239" y="5644134"/>
            <a:ext cx="9764217" cy="109723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Fed. - federal; Intr. - interregional; Reg. -regional </a:t>
            </a:r>
          </a:p>
          <a:p>
            <a:r>
              <a:rPr lang="en-US" dirty="0">
                <a:latin typeface="+mj-lt"/>
              </a:rPr>
              <a:t>*Expert assessment</a:t>
            </a:r>
          </a:p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Including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Perv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pomoshch</a:t>
            </a:r>
            <a:r>
              <a:rPr lang="en-US" dirty="0">
                <a:latin typeface="+mj-lt"/>
              </a:rPr>
              <a:t>', </a:t>
            </a:r>
            <a:r>
              <a:rPr lang="en-US" dirty="0" err="1">
                <a:latin typeface="+mj-lt"/>
              </a:rPr>
              <a:t>Ladush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Khorosh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Vash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zdorov'ye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volg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Narodn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Novaya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Mos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 u </a:t>
            </a:r>
            <a:r>
              <a:rPr lang="en-US" dirty="0" err="1">
                <a:latin typeface="+mj-lt"/>
              </a:rPr>
              <a:t>do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Including 2243 partner pharmacies</a:t>
            </a:r>
          </a:p>
          <a:p>
            <a:r>
              <a:rPr lang="en-US" dirty="0">
                <a:latin typeface="+mj-lt"/>
              </a:rPr>
              <a:t>5 Including </a:t>
            </a:r>
            <a:r>
              <a:rPr lang="en-US" dirty="0" err="1">
                <a:latin typeface="+mj-lt"/>
              </a:rPr>
              <a:t>Farmakon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Klyukvu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85DFD5E-594F-4151-BBFA-2E53C25691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0689520"/>
              </p:ext>
            </p:extLst>
          </p:nvPr>
        </p:nvGraphicFramePr>
        <p:xfrm>
          <a:off x="384173" y="908720"/>
          <a:ext cx="11544475" cy="4735414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320042">
                  <a:extLst>
                    <a:ext uri="{9D8B030D-6E8A-4147-A177-3AD203B41FA5}">
                      <a16:colId xmlns:a16="http://schemas.microsoft.com/office/drawing/2014/main" val="3337428010"/>
                    </a:ext>
                  </a:extLst>
                </a:gridCol>
                <a:gridCol w="444287">
                  <a:extLst>
                    <a:ext uri="{9D8B030D-6E8A-4147-A177-3AD203B41FA5}">
                      <a16:colId xmlns:a16="http://schemas.microsoft.com/office/drawing/2014/main" val="2556990137"/>
                    </a:ext>
                  </a:extLst>
                </a:gridCol>
                <a:gridCol w="265352">
                  <a:extLst>
                    <a:ext uri="{9D8B030D-6E8A-4147-A177-3AD203B41FA5}">
                      <a16:colId xmlns:a16="http://schemas.microsoft.com/office/drawing/2014/main" val="1417307223"/>
                    </a:ext>
                  </a:extLst>
                </a:gridCol>
                <a:gridCol w="1845713">
                  <a:extLst>
                    <a:ext uri="{9D8B030D-6E8A-4147-A177-3AD203B41FA5}">
                      <a16:colId xmlns:a16="http://schemas.microsoft.com/office/drawing/2014/main" val="1557495596"/>
                    </a:ext>
                  </a:extLst>
                </a:gridCol>
                <a:gridCol w="1316234">
                  <a:extLst>
                    <a:ext uri="{9D8B030D-6E8A-4147-A177-3AD203B41FA5}">
                      <a16:colId xmlns:a16="http://schemas.microsoft.com/office/drawing/2014/main" val="2456236810"/>
                    </a:ext>
                  </a:extLst>
                </a:gridCol>
                <a:gridCol w="2120599">
                  <a:extLst>
                    <a:ext uri="{9D8B030D-6E8A-4147-A177-3AD203B41FA5}">
                      <a16:colId xmlns:a16="http://schemas.microsoft.com/office/drawing/2014/main" val="3560752812"/>
                    </a:ext>
                  </a:extLst>
                </a:gridCol>
                <a:gridCol w="1901227">
                  <a:extLst>
                    <a:ext uri="{9D8B030D-6E8A-4147-A177-3AD203B41FA5}">
                      <a16:colId xmlns:a16="http://schemas.microsoft.com/office/drawing/2014/main" val="248877808"/>
                    </a:ext>
                  </a:extLst>
                </a:gridCol>
                <a:gridCol w="1681854">
                  <a:extLst>
                    <a:ext uri="{9D8B030D-6E8A-4147-A177-3AD203B41FA5}">
                      <a16:colId xmlns:a16="http://schemas.microsoft.com/office/drawing/2014/main" val="46900519"/>
                    </a:ext>
                  </a:extLst>
                </a:gridCol>
                <a:gridCol w="857079">
                  <a:extLst>
                    <a:ext uri="{9D8B030D-6E8A-4147-A177-3AD203B41FA5}">
                      <a16:colId xmlns:a16="http://schemas.microsoft.com/office/drawing/2014/main" val="3284903018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082656407"/>
                    </a:ext>
                  </a:extLst>
                </a:gridCol>
              </a:tblGrid>
              <a:tr h="13529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ategory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gions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 / Pharmacy Associ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October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et share of pharmacy chain on the retail market, drugs only, 1-3Q 2018, %</a:t>
                      </a:r>
                    </a:p>
                    <a:p>
                      <a:pPr algn="ctr" fontAlgn="ctr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rug sales 1-3Q 2018/1-3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-3Q 2018  (relative to the leading audited company)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Average check, rub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-3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42232009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5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3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3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15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43533820"/>
                  </a:ext>
                </a:extLst>
              </a:tr>
              <a:tr h="3023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33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7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10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42684844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8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58112185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r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7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02264537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elodiya zdorov'y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0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9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8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8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45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39711239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2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46,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685476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laneta zdorov'ya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2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9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8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10426118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9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1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86,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6957813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ril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1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6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0204773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impex*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2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09082388"/>
                  </a:ext>
                </a:extLst>
              </a:tr>
              <a:tr h="260246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12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4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16582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09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classic pharmacy chains by gross sales (excluding reimbursement drugs supply), 1-3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E670206-4724-4A63-B28B-F62C380595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4075470"/>
              </p:ext>
            </p:extLst>
          </p:nvPr>
        </p:nvGraphicFramePr>
        <p:xfrm>
          <a:off x="384175" y="1124744"/>
          <a:ext cx="11339512" cy="41089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9257">
                  <a:extLst>
                    <a:ext uri="{9D8B030D-6E8A-4147-A177-3AD203B41FA5}">
                      <a16:colId xmlns:a16="http://schemas.microsoft.com/office/drawing/2014/main" val="365799793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3468983479"/>
                    </a:ext>
                  </a:extLst>
                </a:gridCol>
                <a:gridCol w="4032448">
                  <a:extLst>
                    <a:ext uri="{9D8B030D-6E8A-4147-A177-3AD203B41FA5}">
                      <a16:colId xmlns:a16="http://schemas.microsoft.com/office/drawing/2014/main" val="1086061267"/>
                    </a:ext>
                  </a:extLst>
                </a:gridCol>
                <a:gridCol w="3611463">
                  <a:extLst>
                    <a:ext uri="{9D8B030D-6E8A-4147-A177-3AD203B41FA5}">
                      <a16:colId xmlns:a16="http://schemas.microsoft.com/office/drawing/2014/main" val="180197033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gross sales of drugs, 1-3Q 20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gross sales  1-3Q 2018/ 1-3Q 2017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90205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5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44611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 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9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1809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8,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55000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9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6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4255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laneta zdorov'ya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54838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421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ril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5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7047719"/>
                  </a:ext>
                </a:extLst>
              </a:tr>
              <a:tr h="337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elodiya zdorovy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 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8712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impex*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2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78406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is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15037262"/>
                  </a:ext>
                </a:extLst>
              </a:tr>
            </a:tbl>
          </a:graphicData>
        </a:graphic>
      </p:graphicFrame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2A37171D-4787-4EF6-BDDF-49BBF00541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6239" y="5805264"/>
            <a:ext cx="9764217" cy="93610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*Expert assessment</a:t>
            </a:r>
          </a:p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Including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Perv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pomoshch</a:t>
            </a:r>
            <a:r>
              <a:rPr lang="en-US" dirty="0">
                <a:latin typeface="+mj-lt"/>
              </a:rPr>
              <a:t>', </a:t>
            </a:r>
            <a:r>
              <a:rPr lang="en-US" dirty="0" err="1">
                <a:latin typeface="+mj-lt"/>
              </a:rPr>
              <a:t>Ladush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Khorosh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Vash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zdorov'ye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volg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Narodnaya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Novaya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Mos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 u </a:t>
            </a:r>
            <a:r>
              <a:rPr lang="en-US" dirty="0" err="1">
                <a:latin typeface="+mj-lt"/>
              </a:rPr>
              <a:t>do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Excluding 2243 partner pharmacies</a:t>
            </a:r>
          </a:p>
          <a:p>
            <a:r>
              <a:rPr lang="en-US" dirty="0">
                <a:latin typeface="+mj-lt"/>
              </a:rPr>
              <a:t>5 Including </a:t>
            </a:r>
            <a:r>
              <a:rPr lang="en-US" dirty="0" err="1">
                <a:latin typeface="+mj-lt"/>
              </a:rPr>
              <a:t>Farmakon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Klyukvu</a:t>
            </a:r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423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243533"/>
            <a:ext cx="12000656" cy="881211"/>
          </a:xfrm>
        </p:spPr>
        <p:txBody>
          <a:bodyPr/>
          <a:lstStyle/>
          <a:p>
            <a:r>
              <a:rPr lang="en-US" dirty="0"/>
              <a:t>TOP-10 pharmacy associations and service platforms </a:t>
            </a:r>
            <a:br>
              <a:rPr lang="en-US" dirty="0"/>
            </a:br>
            <a:r>
              <a:rPr lang="en-US" dirty="0"/>
              <a:t>by sales of drugs (excluding reimbursement drugs supply), 1-3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64C9B21-EBF8-4734-A40D-3AEB8C97AF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8965955"/>
              </p:ext>
            </p:extLst>
          </p:nvPr>
        </p:nvGraphicFramePr>
        <p:xfrm>
          <a:off x="384175" y="1285875"/>
          <a:ext cx="11339510" cy="329946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527249">
                  <a:extLst>
                    <a:ext uri="{9D8B030D-6E8A-4147-A177-3AD203B41FA5}">
                      <a16:colId xmlns:a16="http://schemas.microsoft.com/office/drawing/2014/main" val="1276057365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155586249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89893392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243688377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3606923787"/>
                    </a:ext>
                  </a:extLst>
                </a:gridCol>
                <a:gridCol w="2135547">
                  <a:extLst>
                    <a:ext uri="{9D8B030D-6E8A-4147-A177-3AD203B41FA5}">
                      <a16:colId xmlns:a16="http://schemas.microsoft.com/office/drawing/2014/main" val="1239797798"/>
                    </a:ext>
                  </a:extLst>
                </a:gridCol>
                <a:gridCol w="1619930">
                  <a:extLst>
                    <a:ext uri="{9D8B030D-6E8A-4147-A177-3AD203B41FA5}">
                      <a16:colId xmlns:a16="http://schemas.microsoft.com/office/drawing/2014/main" val="1412416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Association / Service Platfo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October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of </a:t>
                      </a:r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rmacy association on the retail market, drugs only, 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3Q 2018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of drug sales 1-3Q 2018/1-3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-3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793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 55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3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93649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Apte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 33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,3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7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17713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FU 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 4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7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8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30481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VESN</a:t>
                      </a:r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А </a:t>
                      </a:r>
                      <a:r>
                        <a:rPr lang="ru-RU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 1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3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0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83735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ozvezdiy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6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06205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teka.ru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4 8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4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32349517"/>
                  </a:ext>
                </a:extLst>
              </a:tr>
            </a:tbl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AA187B2-8D31-4416-B1AB-32848A54B2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97559" y="6309320"/>
            <a:ext cx="9116145" cy="44838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7MedPharm Unity</a:t>
            </a:r>
          </a:p>
          <a:p>
            <a:r>
              <a:rPr lang="en-US" dirty="0">
                <a:latin typeface="+mj-lt"/>
              </a:rPr>
              <a:t>8All-Russian United Commonwealth of Independent Drugstores</a:t>
            </a:r>
          </a:p>
          <a:p>
            <a:r>
              <a:rPr lang="en-US" dirty="0">
                <a:latin typeface="+mj-lt"/>
              </a:rPr>
              <a:t>Source: based on data from pharmacy associations and service platform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24</TotalTime>
  <Words>639</Words>
  <Application>Microsoft Office PowerPoint</Application>
  <PresentationFormat>Widescreen</PresentationFormat>
  <Paragraphs>23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Georgia</vt:lpstr>
      <vt:lpstr>Wingdings</vt:lpstr>
      <vt:lpstr>IQVIATemplate_WS_25Oct2017</vt:lpstr>
      <vt:lpstr>think-cell Slide</vt:lpstr>
      <vt:lpstr> Rating of Russian pharmacy chains  1-3Q 2018</vt:lpstr>
      <vt:lpstr> TOP-10 pharmacy chains and pharmacy associations by sales of drugs (excluding reimbursement drugs supply), 1-3Q 2018</vt:lpstr>
      <vt:lpstr>TOP-10 classic pharmacy chains by gross sales (excluding reimbursement drugs supply), 1-3Q 2018</vt:lpstr>
      <vt:lpstr>TOP-10 pharmacy associations and service platforms  by sales of drugs (excluding reimbursement drugs supply), 1-3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92</cp:revision>
  <cp:lastPrinted>2017-10-20T15:11:52Z</cp:lastPrinted>
  <dcterms:created xsi:type="dcterms:W3CDTF">2017-11-13T11:28:02Z</dcterms:created>
  <dcterms:modified xsi:type="dcterms:W3CDTF">2018-12-25T09:20:06Z</dcterms:modified>
</cp:coreProperties>
</file>